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67" r:id="rId3"/>
    <p:sldId id="369" r:id="rId4"/>
    <p:sldId id="370" r:id="rId5"/>
    <p:sldId id="368" r:id="rId6"/>
  </p:sldIdLst>
  <p:sldSz cx="12192000" cy="6858000"/>
  <p:notesSz cx="6858000" cy="9144000"/>
  <p:embeddedFontLst>
    <p:embeddedFont>
      <p:font typeface="Rubik" panose="00000500000000000000" pitchFamily="50" charset="-79"/>
      <p:regular r:id="rId8"/>
      <p:bold r:id="rId9"/>
      <p:italic r:id="rId10"/>
    </p:embeddedFont>
    <p:embeddedFont>
      <p:font typeface="Trebuchet MS" panose="020B0603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C2C419-7622-47E6-BAB8-6CFBB2C359AD}" v="28" dt="2022-02-02T10:31:20.797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0" d="100"/>
          <a:sy n="80" d="100"/>
        </p:scale>
        <p:origin x="120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i, Rekha" userId="f873e4df-22f8-4c1d-beee-7e9cceb29a14" providerId="ADAL" clId="{F5C2C419-7622-47E6-BAB8-6CFBB2C359AD}"/>
    <pc:docChg chg="undo custSel addSld modSld">
      <pc:chgData name="Kumari, Rekha" userId="f873e4df-22f8-4c1d-beee-7e9cceb29a14" providerId="ADAL" clId="{F5C2C419-7622-47E6-BAB8-6CFBB2C359AD}" dt="2022-02-02T11:01:51.813" v="1379" actId="313"/>
      <pc:docMkLst>
        <pc:docMk/>
      </pc:docMkLst>
      <pc:sldChg chg="addSp delSp modSp mod">
        <pc:chgData name="Kumari, Rekha" userId="f873e4df-22f8-4c1d-beee-7e9cceb29a14" providerId="ADAL" clId="{F5C2C419-7622-47E6-BAB8-6CFBB2C359AD}" dt="2022-02-02T11:00:39.191" v="1361" actId="20577"/>
        <pc:sldMkLst>
          <pc:docMk/>
          <pc:sldMk cId="684571084" sldId="366"/>
        </pc:sldMkLst>
        <pc:spChg chg="add del mod">
          <ac:chgData name="Kumari, Rekha" userId="f873e4df-22f8-4c1d-beee-7e9cceb29a14" providerId="ADAL" clId="{F5C2C419-7622-47E6-BAB8-6CFBB2C359AD}" dt="2022-02-01T20:47:23.520" v="8" actId="478"/>
          <ac:spMkLst>
            <pc:docMk/>
            <pc:sldMk cId="684571084" sldId="366"/>
            <ac:spMk id="3" creationId="{7B5E478B-5EAF-4862-915D-FE9C585EA191}"/>
          </ac:spMkLst>
        </pc:spChg>
        <pc:spChg chg="add del mod">
          <ac:chgData name="Kumari, Rekha" userId="f873e4df-22f8-4c1d-beee-7e9cceb29a14" providerId="ADAL" clId="{F5C2C419-7622-47E6-BAB8-6CFBB2C359AD}" dt="2022-02-01T20:47:30.675" v="10" actId="478"/>
          <ac:spMkLst>
            <pc:docMk/>
            <pc:sldMk cId="684571084" sldId="366"/>
            <ac:spMk id="4" creationId="{2DD4C283-30EF-46A2-904D-F33D77D11A19}"/>
          </ac:spMkLst>
        </pc:spChg>
        <pc:spChg chg="add del">
          <ac:chgData name="Kumari, Rekha" userId="f873e4df-22f8-4c1d-beee-7e9cceb29a14" providerId="ADAL" clId="{F5C2C419-7622-47E6-BAB8-6CFBB2C359AD}" dt="2022-02-01T20:46:49.709" v="3" actId="22"/>
          <ac:spMkLst>
            <pc:docMk/>
            <pc:sldMk cId="684571084" sldId="366"/>
            <ac:spMk id="9" creationId="{CC558705-C64F-4275-A305-12C6A8ACC665}"/>
          </ac:spMkLst>
        </pc:spChg>
        <pc:spChg chg="mod">
          <ac:chgData name="Kumari, Rekha" userId="f873e4df-22f8-4c1d-beee-7e9cceb29a14" providerId="ADAL" clId="{F5C2C419-7622-47E6-BAB8-6CFBB2C359AD}" dt="2022-02-01T20:35:35.165" v="0" actId="14100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Kumari, Rekha" userId="f873e4df-22f8-4c1d-beee-7e9cceb29a14" providerId="ADAL" clId="{F5C2C419-7622-47E6-BAB8-6CFBB2C359AD}" dt="2022-02-02T11:00:39.191" v="1361" actId="20577"/>
          <ac:spMkLst>
            <pc:docMk/>
            <pc:sldMk cId="684571084" sldId="366"/>
            <ac:spMk id="18" creationId="{1A8455E1-E124-45CE-B4DD-AE99CCF9A248}"/>
          </ac:spMkLst>
        </pc:spChg>
        <pc:spChg chg="add del mod">
          <ac:chgData name="Kumari, Rekha" userId="f873e4df-22f8-4c1d-beee-7e9cceb29a14" providerId="ADAL" clId="{F5C2C419-7622-47E6-BAB8-6CFBB2C359AD}" dt="2022-02-01T20:51:30.877" v="22" actId="931"/>
          <ac:spMkLst>
            <pc:docMk/>
            <pc:sldMk cId="684571084" sldId="366"/>
            <ac:spMk id="19" creationId="{BBAF474D-C48B-47A3-AD43-776B973A4A16}"/>
          </ac:spMkLst>
        </pc:spChg>
        <pc:picChg chg="add mod">
          <ac:chgData name="Kumari, Rekha" userId="f873e4df-22f8-4c1d-beee-7e9cceb29a14" providerId="ADAL" clId="{F5C2C419-7622-47E6-BAB8-6CFBB2C359AD}" dt="2022-02-01T20:52:33.505" v="32" actId="14100"/>
          <ac:picMkLst>
            <pc:docMk/>
            <pc:sldMk cId="684571084" sldId="366"/>
            <ac:picMk id="8" creationId="{A1CF21FF-C68D-4886-91EF-6A2087D3DC1F}"/>
          </ac:picMkLst>
        </pc:picChg>
        <pc:picChg chg="add del mod">
          <ac:chgData name="Kumari, Rekha" userId="f873e4df-22f8-4c1d-beee-7e9cceb29a14" providerId="ADAL" clId="{F5C2C419-7622-47E6-BAB8-6CFBB2C359AD}" dt="2022-02-01T20:47:38.665" v="13"/>
          <ac:picMkLst>
            <pc:docMk/>
            <pc:sldMk cId="684571084" sldId="366"/>
            <ac:picMk id="1026" creationId="{8E38507F-7CCF-4CA4-92A2-F54623221BCB}"/>
          </ac:picMkLst>
        </pc:picChg>
        <pc:picChg chg="add del mod">
          <ac:chgData name="Kumari, Rekha" userId="f873e4df-22f8-4c1d-beee-7e9cceb29a14" providerId="ADAL" clId="{F5C2C419-7622-47E6-BAB8-6CFBB2C359AD}" dt="2022-02-01T20:48:54.704" v="19"/>
          <ac:picMkLst>
            <pc:docMk/>
            <pc:sldMk cId="684571084" sldId="366"/>
            <ac:picMk id="1028" creationId="{483118CD-8919-4024-BBDF-B15C982678CB}"/>
          </ac:picMkLst>
        </pc:picChg>
      </pc:sldChg>
      <pc:sldChg chg="modSp mod">
        <pc:chgData name="Kumari, Rekha" userId="f873e4df-22f8-4c1d-beee-7e9cceb29a14" providerId="ADAL" clId="{F5C2C419-7622-47E6-BAB8-6CFBB2C359AD}" dt="2022-02-02T11:01:51.813" v="1379" actId="313"/>
        <pc:sldMkLst>
          <pc:docMk/>
          <pc:sldMk cId="1022597847" sldId="367"/>
        </pc:sldMkLst>
        <pc:spChg chg="mod">
          <ac:chgData name="Kumari, Rekha" userId="f873e4df-22f8-4c1d-beee-7e9cceb29a14" providerId="ADAL" clId="{F5C2C419-7622-47E6-BAB8-6CFBB2C359AD}" dt="2022-02-02T11:01:51.813" v="1379" actId="313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">
        <pc:chgData name="Kumari, Rekha" userId="f873e4df-22f8-4c1d-beee-7e9cceb29a14" providerId="ADAL" clId="{F5C2C419-7622-47E6-BAB8-6CFBB2C359AD}" dt="2022-02-02T10:31:30.630" v="987" actId="20577"/>
        <pc:sldMkLst>
          <pc:docMk/>
          <pc:sldMk cId="1336772705" sldId="369"/>
        </pc:sldMkLst>
        <pc:spChg chg="mod">
          <ac:chgData name="Kumari, Rekha" userId="f873e4df-22f8-4c1d-beee-7e9cceb29a14" providerId="ADAL" clId="{F5C2C419-7622-47E6-BAB8-6CFBB2C359AD}" dt="2022-02-02T10:31:30.630" v="987" actId="20577"/>
          <ac:spMkLst>
            <pc:docMk/>
            <pc:sldMk cId="1336772705" sldId="369"/>
            <ac:spMk id="2" creationId="{3729475E-5342-4F14-86B6-B051CA586F3F}"/>
          </ac:spMkLst>
        </pc:spChg>
        <pc:spChg chg="mod">
          <ac:chgData name="Kumari, Rekha" userId="f873e4df-22f8-4c1d-beee-7e9cceb29a14" providerId="ADAL" clId="{F5C2C419-7622-47E6-BAB8-6CFBB2C359AD}" dt="2022-02-02T10:29:23.750" v="958" actId="20577"/>
          <ac:spMkLst>
            <pc:docMk/>
            <pc:sldMk cId="1336772705" sldId="369"/>
            <ac:spMk id="5" creationId="{52816D73-16BF-4DE5-9470-389365833768}"/>
          </ac:spMkLst>
        </pc:spChg>
        <pc:spChg chg="del">
          <ac:chgData name="Kumari, Rekha" userId="f873e4df-22f8-4c1d-beee-7e9cceb29a14" providerId="ADAL" clId="{F5C2C419-7622-47E6-BAB8-6CFBB2C359AD}" dt="2022-02-02T10:27:45.281" v="922"/>
          <ac:spMkLst>
            <pc:docMk/>
            <pc:sldMk cId="1336772705" sldId="369"/>
            <ac:spMk id="6" creationId="{8300A30E-56D3-4B3A-8CDB-4EC8BF085B07}"/>
          </ac:spMkLst>
        </pc:spChg>
        <pc:picChg chg="add mod">
          <ac:chgData name="Kumari, Rekha" userId="f873e4df-22f8-4c1d-beee-7e9cceb29a14" providerId="ADAL" clId="{F5C2C419-7622-47E6-BAB8-6CFBB2C359AD}" dt="2022-02-02T10:31:13.157" v="984" actId="1076"/>
          <ac:picMkLst>
            <pc:docMk/>
            <pc:sldMk cId="1336772705" sldId="369"/>
            <ac:picMk id="2050" creationId="{81C1E572-DE56-41D7-B458-32EDB0E1F934}"/>
          </ac:picMkLst>
        </pc:picChg>
        <pc:picChg chg="add del mod">
          <ac:chgData name="Kumari, Rekha" userId="f873e4df-22f8-4c1d-beee-7e9cceb29a14" providerId="ADAL" clId="{F5C2C419-7622-47E6-BAB8-6CFBB2C359AD}" dt="2022-02-02T10:31:03.452" v="976" actId="21"/>
          <ac:picMkLst>
            <pc:docMk/>
            <pc:sldMk cId="1336772705" sldId="369"/>
            <ac:picMk id="2052" creationId="{7A5ADCFE-70B1-43F3-A480-E5107D87EB95}"/>
          </ac:picMkLst>
        </pc:picChg>
      </pc:sldChg>
      <pc:sldChg chg="addSp delSp modSp new mod">
        <pc:chgData name="Kumari, Rekha" userId="f873e4df-22f8-4c1d-beee-7e9cceb29a14" providerId="ADAL" clId="{F5C2C419-7622-47E6-BAB8-6CFBB2C359AD}" dt="2022-02-02T10:31:26.243" v="986" actId="20577"/>
        <pc:sldMkLst>
          <pc:docMk/>
          <pc:sldMk cId="2723174052" sldId="370"/>
        </pc:sldMkLst>
        <pc:spChg chg="mod">
          <ac:chgData name="Kumari, Rekha" userId="f873e4df-22f8-4c1d-beee-7e9cceb29a14" providerId="ADAL" clId="{F5C2C419-7622-47E6-BAB8-6CFBB2C359AD}" dt="2022-02-02T10:31:26.243" v="986" actId="20577"/>
          <ac:spMkLst>
            <pc:docMk/>
            <pc:sldMk cId="2723174052" sldId="370"/>
            <ac:spMk id="2" creationId="{97F63D88-CEB5-4BF4-B115-AB3C72C15C9A}"/>
          </ac:spMkLst>
        </pc:spChg>
        <pc:spChg chg="del">
          <ac:chgData name="Kumari, Rekha" userId="f873e4df-22f8-4c1d-beee-7e9cceb29a14" providerId="ADAL" clId="{F5C2C419-7622-47E6-BAB8-6CFBB2C359AD}" dt="2022-02-02T10:31:20.797" v="985"/>
          <ac:spMkLst>
            <pc:docMk/>
            <pc:sldMk cId="2723174052" sldId="370"/>
            <ac:spMk id="6" creationId="{CE49C427-D5F0-4B9D-B4E6-67D6DFF5B489}"/>
          </ac:spMkLst>
        </pc:spChg>
        <pc:picChg chg="add mod">
          <ac:chgData name="Kumari, Rekha" userId="f873e4df-22f8-4c1d-beee-7e9cceb29a14" providerId="ADAL" clId="{F5C2C419-7622-47E6-BAB8-6CFBB2C359AD}" dt="2022-02-02T10:31:20.797" v="985"/>
          <ac:picMkLst>
            <pc:docMk/>
            <pc:sldMk cId="2723174052" sldId="370"/>
            <ac:picMk id="7" creationId="{CAFD7B02-BDDE-4D1C-99F2-3589B83BC46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1CF21FF-C68D-4886-91EF-6A2087D3DC1F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6" r="7286"/>
          <a:stretch>
            <a:fillRect/>
          </a:stretch>
        </p:blipFill>
        <p:spPr>
          <a:xfrm>
            <a:off x="0" y="0"/>
            <a:ext cx="4223792" cy="2375883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wiftKanban</a:t>
            </a:r>
            <a:r>
              <a:rPr lang="en-US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1271464" y="4887000"/>
            <a:ext cx="4727699" cy="3889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Chethan BG</a:t>
            </a:r>
          </a:p>
          <a:p>
            <a:r>
              <a:rPr lang="en-US" dirty="0"/>
              <a:t>Rekha Kumar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wiftKanba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IN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SwiftKanban</a:t>
            </a:r>
            <a:r>
              <a:rPr lang="en-IN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 and its 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capabilities</a:t>
            </a:r>
            <a:endParaRPr lang="en-IN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cs typeface="Times New Roman" panose="02020603050405020304" pitchFamily="18" charset="0"/>
            </a:endParaRP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 err="1"/>
              <a:t>SwiftKanban</a:t>
            </a:r>
            <a:r>
              <a:rPr lang="en-US" dirty="0"/>
              <a:t> provider can be used to add and update sprints, backlogs, tasks, comments, attachments, relations in new workspace ( called Board in </a:t>
            </a:r>
            <a:r>
              <a:rPr lang="en-US" dirty="0" err="1"/>
              <a:t>SwiftKanban</a:t>
            </a:r>
            <a:r>
              <a:rPr lang="en-US" dirty="0"/>
              <a:t>)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It can fetch all the </a:t>
            </a:r>
            <a:r>
              <a:rPr lang="de-DE" dirty="0" err="1"/>
              <a:t>activity</a:t>
            </a:r>
            <a:r>
              <a:rPr lang="de-DE" dirty="0"/>
              <a:t> logs </a:t>
            </a:r>
            <a:r>
              <a:rPr lang="de-DE" dirty="0" err="1"/>
              <a:t>mentioned</a:t>
            </a:r>
            <a:r>
              <a:rPr lang="de-DE" dirty="0"/>
              <a:t> in </a:t>
            </a:r>
            <a:r>
              <a:rPr lang="de-DE" dirty="0" err="1"/>
              <a:t>cards</a:t>
            </a:r>
            <a:r>
              <a:rPr lang="de-DE" dirty="0"/>
              <a:t>, </a:t>
            </a:r>
            <a:r>
              <a:rPr lang="de-DE" dirty="0" err="1"/>
              <a:t>backlogs</a:t>
            </a:r>
            <a:r>
              <a:rPr lang="de-DE" dirty="0"/>
              <a:t> and </a:t>
            </a:r>
            <a:r>
              <a:rPr lang="de-DE" dirty="0" err="1"/>
              <a:t>relations</a:t>
            </a:r>
            <a:r>
              <a:rPr lang="de-DE" dirty="0"/>
              <a:t>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also </a:t>
            </a:r>
            <a:r>
              <a:rPr lang="de-DE" dirty="0" err="1"/>
              <a:t>fetc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rints</a:t>
            </a:r>
            <a:r>
              <a:rPr lang="de-DE" dirty="0"/>
              <a:t>, </a:t>
            </a:r>
            <a:r>
              <a:rPr lang="de-DE" dirty="0" err="1"/>
              <a:t>cards</a:t>
            </a:r>
            <a:r>
              <a:rPr lang="de-DE" dirty="0"/>
              <a:t>, </a:t>
            </a:r>
            <a:r>
              <a:rPr lang="en-US" dirty="0"/>
              <a:t>backlogs, </a:t>
            </a:r>
            <a:r>
              <a:rPr lang="de-DE" dirty="0" err="1"/>
              <a:t>relation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comments</a:t>
            </a:r>
            <a:r>
              <a:rPr lang="de-DE" dirty="0"/>
              <a:t>. 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de-DE" dirty="0"/>
              <a:t>This </a:t>
            </a:r>
            <a:r>
              <a:rPr lang="de-DE" dirty="0" err="1"/>
              <a:t>provide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also perform </a:t>
            </a:r>
            <a:r>
              <a:rPr lang="de-DE" dirty="0" err="1"/>
              <a:t>delete</a:t>
            </a:r>
            <a:r>
              <a:rPr lang="de-DE" dirty="0"/>
              <a:t> </a:t>
            </a:r>
            <a:r>
              <a:rPr lang="de-DE" dirty="0" err="1"/>
              <a:t>opeartion</a:t>
            </a:r>
            <a:r>
              <a:rPr lang="de-DE" dirty="0"/>
              <a:t> on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card</a:t>
            </a:r>
            <a:r>
              <a:rPr lang="de-DE" dirty="0"/>
              <a:t>, </a:t>
            </a:r>
            <a:r>
              <a:rPr lang="en-US" dirty="0"/>
              <a:t>sprints, backlogs, tasks, comments, attachment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We can get all the Team members’ details for your account in </a:t>
            </a:r>
            <a:r>
              <a:rPr lang="en-US" dirty="0" err="1"/>
              <a:t>SwiftKanban</a:t>
            </a:r>
            <a:r>
              <a:rPr lang="en-US" dirty="0"/>
              <a:t>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We can fetch the Active Master Lists details for your account at an Org level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The connector can be integrated to automate all the above-mentioned activities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It enables better management of workflow and gives higher degree of transparency amongst teams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 of REST Resour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81C1E572-DE56-41D7-B458-32EDB0E1F934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1483913"/>
            <a:ext cx="6790285" cy="3349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63D88-CEB5-4BF4-B115-AB3C72C15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 of flow servi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030054-24A9-42D0-A786-CB303F334C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A11B8-2C4A-4387-A462-21CCF77F3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058F4E7-7150-4C82-85B0-8D4C86585BF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Picture 4" descr="image">
            <a:extLst>
              <a:ext uri="{FF2B5EF4-FFF2-40B4-BE49-F238E27FC236}">
                <a16:creationId xmlns:a16="http://schemas.microsoft.com/office/drawing/2014/main" id="{CAFD7B02-BDDE-4D1C-99F2-3589B83BC46E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937" y="1639094"/>
            <a:ext cx="8620125" cy="4162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174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9662eb9-ad98-4e74-a8a2-04ed5d544db6}" enabled="0" method="" siteId="{d9662eb9-ad98-4e74-a8a2-04ed5d544db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71</Words>
  <Application>Microsoft Office PowerPoint</Application>
  <PresentationFormat>Widescreen</PresentationFormat>
  <Paragraphs>29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Wingdings</vt:lpstr>
      <vt:lpstr>Symbol</vt:lpstr>
      <vt:lpstr>Rubik</vt:lpstr>
      <vt:lpstr>Trebuchet MS</vt:lpstr>
      <vt:lpstr>Arial</vt:lpstr>
      <vt:lpstr>Software AG 2021</vt:lpstr>
      <vt:lpstr>SwiftKanban Provider</vt:lpstr>
      <vt:lpstr>SwiftKanban</vt:lpstr>
      <vt:lpstr>Screenshot of REST Resources</vt:lpstr>
      <vt:lpstr>Screenshot of flow services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Kumari, Rekha</cp:lastModifiedBy>
  <cp:revision>2</cp:revision>
  <dcterms:created xsi:type="dcterms:W3CDTF">2022-01-10T12:32:13Z</dcterms:created>
  <dcterms:modified xsi:type="dcterms:W3CDTF">2022-02-02T11:01:56Z</dcterms:modified>
</cp:coreProperties>
</file>